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  <p:sldMasterId id="2147483679" r:id="rId5"/>
  </p:sldMasterIdLst>
  <p:notesMasterIdLst>
    <p:notesMasterId r:id="rId16"/>
  </p:notesMasterIdLst>
  <p:sldIdLst>
    <p:sldId id="2145720974" r:id="rId6"/>
    <p:sldId id="2145720983" r:id="rId7"/>
    <p:sldId id="2145720979" r:id="rId8"/>
    <p:sldId id="2145720981" r:id="rId9"/>
    <p:sldId id="2145720980" r:id="rId10"/>
    <p:sldId id="2145720982" r:id="rId11"/>
    <p:sldId id="2145720977" r:id="rId12"/>
    <p:sldId id="2134961910" r:id="rId13"/>
    <p:sldId id="2145720978" r:id="rId14"/>
    <p:sldId id="2145720973" r:id="rId15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C620231-1162-4FB1-89AA-9D85B83B0A5C}">
          <p14:sldIdLst>
            <p14:sldId id="2145720974"/>
            <p14:sldId id="2145720983"/>
            <p14:sldId id="2145720979"/>
            <p14:sldId id="2145720981"/>
            <p14:sldId id="2145720980"/>
            <p14:sldId id="2145720982"/>
            <p14:sldId id="2145720977"/>
            <p14:sldId id="2134961910"/>
            <p14:sldId id="2145720978"/>
            <p14:sldId id="214572097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ke, Stan M - Milwaukee, WI" initials="FSM-MW" lastIdx="4" clrIdx="0">
    <p:extLst>
      <p:ext uri="{19B8F6BF-5375-455C-9EA6-DF929625EA0E}">
        <p15:presenceInfo xmlns:p15="http://schemas.microsoft.com/office/powerpoint/2012/main" userId="S::Stan.M.Franke@usps.gov::45a53468-c8e7-42f0-b6ce-f65b6d5afbea" providerId="AD"/>
      </p:ext>
    </p:extLst>
  </p:cmAuthor>
  <p:cmAuthor id="2" name="Raymond, Nan S - Omaha, NE" initials="RNSON" lastIdx="1" clrIdx="1">
    <p:extLst>
      <p:ext uri="{19B8F6BF-5375-455C-9EA6-DF929625EA0E}">
        <p15:presenceInfo xmlns:p15="http://schemas.microsoft.com/office/powerpoint/2012/main" userId="S::Nan.S.Raymond@usps.gov::ded703da-0279-450d-a93a-fd80ec4149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5" d="100"/>
          <a:sy n="85" d="100"/>
        </p:scale>
        <p:origin x="74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9562EB1-DDE6-4322-9A87-EE79BBAC175B}" type="datetimeFigureOut">
              <a:rPr lang="en-US"/>
              <a:t>3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7A6686F-D785-4D1C-8352-6FB014F90681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3061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708025"/>
            <a:ext cx="6302375" cy="3544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056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5A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8" name="Focus Frame 2"/>
          <p:cNvSpPr>
            <a:spLocks noChangeAspect="1"/>
          </p:cNvSpPr>
          <p:nvPr/>
        </p:nvSpPr>
        <p:spPr bwMode="gray">
          <a:xfrm>
            <a:off x="7998862" y="1025525"/>
            <a:ext cx="222820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9" name="Focus Frame 2"/>
          <p:cNvSpPr>
            <a:spLocks noChangeAspect="1"/>
          </p:cNvSpPr>
          <p:nvPr/>
        </p:nvSpPr>
        <p:spPr bwMode="gray">
          <a:xfrm>
            <a:off x="1588460" y="1025525"/>
            <a:ext cx="222820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580" y="6074262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71BBC6-F01D-4E80-BB8C-A1C2D80DA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99106" y="1025526"/>
            <a:ext cx="5989649" cy="2085975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99144" y="3263900"/>
            <a:ext cx="5989610" cy="12446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(s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D849FB-5DAC-4706-A0EF-3A2AB9B81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99105" y="4657727"/>
            <a:ext cx="5989610" cy="939799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547056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3317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0667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34936" y="1354041"/>
            <a:ext cx="5029200" cy="3286925"/>
          </a:xfrm>
        </p:spPr>
        <p:txBody>
          <a:bodyPr anchor="ctr">
            <a:normAutofit/>
          </a:bodyPr>
          <a:lstStyle>
            <a:lvl1pPr>
              <a:defRPr sz="320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73EB3B-0AE2-7A48-BF35-D1CF1DB27874}"/>
              </a:ext>
            </a:extLst>
          </p:cNvPr>
          <p:cNvSpPr/>
          <p:nvPr/>
        </p:nvSpPr>
        <p:spPr bwMode="blackWhite">
          <a:xfrm>
            <a:off x="7140899" y="1354039"/>
            <a:ext cx="5051100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73678-BC25-BB4A-A678-83DD136C7174}"/>
              </a:ext>
            </a:extLst>
          </p:cNvPr>
          <p:cNvSpPr/>
          <p:nvPr/>
        </p:nvSpPr>
        <p:spPr bwMode="blackWhite">
          <a:xfrm>
            <a:off x="-2" y="1354039"/>
            <a:ext cx="1753954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1" y="6129162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44">
            <a:extLst>
              <a:ext uri="{FF2B5EF4-FFF2-40B4-BE49-F238E27FC236}">
                <a16:creationId xmlns:a16="http://schemas.microsoft.com/office/drawing/2014/main" id="{D90075E3-1342-4A31-87F7-EBF9CE8642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6288793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47039C9C-1991-4847-86E2-B2D0341200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43" y="6463091"/>
            <a:ext cx="1142396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420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475" y="978747"/>
            <a:ext cx="10515600" cy="4847719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1" y="6129590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4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Box 44">
            <a:extLst>
              <a:ext uri="{FF2B5EF4-FFF2-40B4-BE49-F238E27FC236}">
                <a16:creationId xmlns:a16="http://schemas.microsoft.com/office/drawing/2014/main" id="{7BA6CDE4-BAD8-4A6E-B15A-40826D6201F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6288793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`Commercial Information – Do Not Disclose / Attorney-Client Privileged / Attorney Work Product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73D24AA3-A9AA-470F-A46C-C3622B2499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43" y="6463091"/>
            <a:ext cx="1142396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8533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964768"/>
            <a:ext cx="5181600" cy="438912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05475" y="964768"/>
            <a:ext cx="5181600" cy="438912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1" y="6129590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1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44">
            <a:extLst>
              <a:ext uri="{FF2B5EF4-FFF2-40B4-BE49-F238E27FC236}">
                <a16:creationId xmlns:a16="http://schemas.microsoft.com/office/drawing/2014/main" id="{6780F277-7BC7-4EA2-B347-688862EDBA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6288793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6A0A4CCF-B58C-4EF2-B601-EE66FEB2C9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643" y="6463091"/>
            <a:ext cx="1142396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957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1" y="6129590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4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1648E70-D75D-4D89-9E44-B6D54614138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8199" y="821887"/>
            <a:ext cx="10515600" cy="332676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nter item needing BOG vo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BECFAF-DC43-4C8C-8C01-6669D87FD05D}"/>
              </a:ext>
            </a:extLst>
          </p:cNvPr>
          <p:cNvSpPr txBox="1"/>
          <p:nvPr userDrawn="1"/>
        </p:nvSpPr>
        <p:spPr>
          <a:xfrm>
            <a:off x="837491" y="4352962"/>
            <a:ext cx="10515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>
                <a:solidFill>
                  <a:srgbClr val="FF0000"/>
                </a:solidFill>
              </a:rPr>
              <a:t>Vote</a:t>
            </a:r>
          </a:p>
        </p:txBody>
      </p:sp>
      <p:sp>
        <p:nvSpPr>
          <p:cNvPr id="20" name="Text Box 44">
            <a:extLst>
              <a:ext uri="{FF2B5EF4-FFF2-40B4-BE49-F238E27FC236}">
                <a16:creationId xmlns:a16="http://schemas.microsoft.com/office/drawing/2014/main" id="{DA20077F-8BDF-420A-AFED-71920700901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6288793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00C52B8A-389F-452E-AC9B-D15864EF74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43" y="6463091"/>
            <a:ext cx="1142396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496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3022D1-977B-46AB-B964-607F633F47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EF49A4-82AA-4745-952F-AAEB64F304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3EFFE-6D21-4EFD-BC9F-1F7CDF2FD3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AE48BE-C984-4B06-93BB-4A24E23F9883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7DCC67-4BF9-4BC4-A869-C43F37C8E2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64BEA5-6FFB-497E-97C2-772EF05A4D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DA5EB-2D2A-41C6-B795-5E81192A5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7479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7" y="1590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90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866826" y="1890026"/>
            <a:ext cx="10460365" cy="1323439"/>
          </a:xfrm>
        </p:spPr>
        <p:txBody>
          <a:bodyPr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Title in Title Case</a:t>
            </a:r>
            <a:br>
              <a:rPr lang="en-US"/>
            </a:br>
            <a:r>
              <a:rPr lang="en-US"/>
              <a:t>(Calibri Bold 40pt, Black)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0" hasCustomPrompt="1"/>
          </p:nvPr>
        </p:nvSpPr>
        <p:spPr>
          <a:xfrm>
            <a:off x="866826" y="3213100"/>
            <a:ext cx="10460365" cy="947952"/>
          </a:xfrm>
        </p:spPr>
        <p:txBody>
          <a:bodyPr>
            <a:noAutofit/>
          </a:bodyPr>
          <a:lstStyle>
            <a:lvl1pPr algn="ctr">
              <a:defRPr sz="28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Title Case (Calibri 28pt, Black)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11" hasCustomPrompt="1"/>
          </p:nvPr>
        </p:nvSpPr>
        <p:spPr>
          <a:xfrm>
            <a:off x="3963208" y="4797154"/>
            <a:ext cx="4267603" cy="307777"/>
          </a:xfrm>
        </p:spPr>
        <p:txBody>
          <a:bodyPr>
            <a:noAutofit/>
          </a:bodyPr>
          <a:lstStyle>
            <a:lvl1pPr algn="ctr">
              <a:defRPr sz="2000" b="0">
                <a:solidFill>
                  <a:srgbClr val="4D4D4D"/>
                </a:solidFill>
                <a:latin typeface="+mj-lt"/>
              </a:defRPr>
            </a:lvl1pPr>
          </a:lstStyle>
          <a:p>
            <a:pPr lvl="0"/>
            <a:r>
              <a:rPr lang="en-US"/>
              <a:t>Date (Calibri 20pt, Dark gray)</a:t>
            </a:r>
          </a:p>
        </p:txBody>
      </p:sp>
    </p:spTree>
    <p:extLst>
      <p:ext uri="{BB962C8B-B14F-4D97-AF65-F5344CB8AC3E}">
        <p14:creationId xmlns:p14="http://schemas.microsoft.com/office/powerpoint/2010/main" val="42392695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7" y="1590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90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baseline="0"/>
            </a:lvl1pPr>
          </a:lstStyle>
          <a:p>
            <a:r>
              <a:rPr lang="en-US"/>
              <a:t>Title in sentence case (Calibri Bold 24pt, White)</a:t>
            </a:r>
            <a:br>
              <a:rPr lang="en-US"/>
            </a:br>
            <a:r>
              <a:rPr lang="en-US" sz="1600" b="0"/>
              <a:t>Subtitle in sentence case (Calibri 16pt, White)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9" y="1508400"/>
            <a:ext cx="11246276" cy="4739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8033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19188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624" imgH="623" progId="TCLayout.ActiveDocument.1">
                  <p:embed/>
                </p:oleObj>
              </mc:Choice>
              <mc:Fallback>
                <p:oleObj name="think-cell Slide" r:id="rId10" imgW="624" imgH="62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2"/>
            <a:ext cx="10515600" cy="7008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077481"/>
            <a:ext cx="10515600" cy="49605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284E45-572D-43DD-B768-EB3B4C6C6C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419" y="6356351"/>
            <a:ext cx="27423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7E09C6-88B6-45B4-912E-3B756311B05A}" type="datetime1">
              <a:rPr lang="en-US" smtClean="0"/>
              <a:t>3/8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13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6" r:id="rId2"/>
    <p:sldLayoutId id="2147483675" r:id="rId3"/>
    <p:sldLayoutId id="2147483677" r:id="rId4"/>
    <p:sldLayoutId id="2147483678" r:id="rId5"/>
    <p:sldLayoutId id="2147483685" r:id="rId6"/>
  </p:sldLayoutIdLst>
  <p:hf sldNum="0" hdr="0" ft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5A9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063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126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189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252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7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/>
        </p:nvGrpSpPr>
        <p:grpSpPr>
          <a:xfrm>
            <a:off x="0" y="0"/>
            <a:ext cx="12194016" cy="861695"/>
            <a:chOff x="0" y="0"/>
            <a:chExt cx="9602788" cy="861695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772885"/>
              <a:ext cx="9602788" cy="88810"/>
            </a:xfrm>
            <a:prstGeom prst="rect">
              <a:avLst/>
            </a:prstGeom>
            <a:solidFill>
              <a:srgbClr val="DF2626"/>
            </a:solidFill>
            <a:ln w="9525" cap="flat" cmpd="sng" algn="ctr">
              <a:noFill/>
              <a:prstDash val="solid"/>
            </a:ln>
            <a:effectLst/>
          </p:spPr>
          <p:txBody>
            <a:bodyPr tIns="90000" bIns="90000" rtlCol="0" anchor="ctr" anchorCtr="1"/>
            <a:lstStyle/>
            <a:p>
              <a:pPr algn="ctr">
                <a:defRPr/>
              </a:pPr>
              <a:endParaRPr lang="en-US" sz="1200" ker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0"/>
              <a:ext cx="9602788" cy="777245"/>
            </a:xfrm>
            <a:prstGeom prst="rect">
              <a:avLst/>
            </a:prstGeom>
            <a:solidFill>
              <a:srgbClr val="5193C7"/>
            </a:solidFill>
            <a:ln w="9525" cap="flat" cmpd="sng" algn="ctr">
              <a:noFill/>
              <a:prstDash val="solid"/>
            </a:ln>
            <a:effectLst/>
          </p:spPr>
          <p:txBody>
            <a:bodyPr tIns="90000" bIns="90000" rtlCol="0" anchor="ctr" anchorCtr="1"/>
            <a:lstStyle/>
            <a:p>
              <a:pPr algn="ctr">
                <a:defRPr/>
              </a:pPr>
              <a:endParaRPr lang="en-US" sz="1200" kern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17335" y="-1"/>
            <a:ext cx="8591651" cy="812801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2709" y="1508400"/>
            <a:ext cx="11246276" cy="4739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oterSimple"/>
          <p:cNvSpPr/>
          <p:nvPr/>
        </p:nvSpPr>
        <p:spPr>
          <a:xfrm>
            <a:off x="562710" y="6699600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en-US" sz="700">
                <a:solidFill>
                  <a:srgbClr val="808080"/>
                </a:solidFill>
              </a:rPr>
              <a:t>ELT Role Mandates 071615_vS.pptx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74523" y="6674400"/>
            <a:ext cx="23446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>
              <a:solidFill>
                <a:srgbClr val="000000"/>
              </a:solidFill>
            </a:endParaRPr>
          </a:p>
          <a:p>
            <a:pPr algn="r"/>
            <a:endParaRPr lang="en-US" sz="90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7" name="Picture 16" descr="united-states-postal-service-usps-logo_WHITE TEXT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96614" y="195723"/>
            <a:ext cx="2844868" cy="379134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4520595" y="6611781"/>
            <a:ext cx="3130652" cy="246221"/>
          </a:xfrm>
          <a:prstGeom prst="rect">
            <a:avLst/>
          </a:prstGeom>
          <a:noFill/>
        </p:spPr>
        <p:txBody>
          <a:bodyPr wrap="square" tIns="45720" bIns="45720" rtlCol="0">
            <a:noAutofit/>
          </a:bodyPr>
          <a:lstStyle/>
          <a:p>
            <a:pPr algn="ctr">
              <a:defRPr/>
            </a:pPr>
            <a:r>
              <a:rPr lang="en-US" sz="1000" b="1" kern="0">
                <a:solidFill>
                  <a:srgbClr val="DF2626"/>
                </a:solidFill>
              </a:rPr>
              <a:t>CONFIDENTI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3215635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hf hdr="0" ftr="0" dt="0"/>
  <p:txStyles>
    <p:titleStyle>
      <a:lvl1pPr algn="r" defTabSz="914400" rtl="0" eaLnBrk="1" latinLnBrk="0" hangingPunct="1"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bohemianbabushka.bbabushka.com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creativecommons.org/licenses/by-nc-nd/3.0/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mssc@usps.gov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9E4B63-25C7-4D01-B91D-F29D6208E5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00200" y="1025526"/>
            <a:ext cx="5863408" cy="3300289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en-US" dirty="0">
                <a:latin typeface="Arial"/>
                <a:cs typeface="Arial"/>
              </a:rPr>
              <a:t>St. Louis PCC</a:t>
            </a:r>
          </a:p>
          <a:p>
            <a:endParaRPr lang="en-US" dirty="0">
              <a:latin typeface="Arial"/>
              <a:cs typeface="Arial"/>
            </a:endParaRPr>
          </a:p>
          <a:p>
            <a:r>
              <a:rPr lang="en-US" dirty="0">
                <a:latin typeface="Arial"/>
                <a:cs typeface="Arial"/>
              </a:rPr>
              <a:t>Darrin Gadson</a:t>
            </a:r>
          </a:p>
          <a:p>
            <a:r>
              <a:rPr lang="en-US" sz="2800" dirty="0">
                <a:latin typeface="Arial"/>
                <a:cs typeface="Arial"/>
              </a:rPr>
              <a:t>District Customer Relations Mgr.</a:t>
            </a:r>
          </a:p>
          <a:p>
            <a:endParaRPr lang="en-US" sz="2800" dirty="0">
              <a:latin typeface="Arial"/>
              <a:cs typeface="Arial"/>
            </a:endParaRPr>
          </a:p>
          <a:p>
            <a:r>
              <a:rPr lang="en-US" sz="3500" dirty="0">
                <a:latin typeface="Arial"/>
                <a:cs typeface="Arial"/>
              </a:rPr>
              <a:t>USPS Points of Contact</a:t>
            </a:r>
            <a:endParaRPr lang="en-US" sz="35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16F143-E93C-4C64-A0B0-ACC89E4E4A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latin typeface="Arial"/>
                <a:cs typeface="Arial"/>
              </a:rPr>
              <a:t>MARCH 8, 202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84218B-031B-47D9-81C0-1EE601B3AEB0}"/>
              </a:ext>
            </a:extLst>
          </p:cNvPr>
          <p:cNvSpPr txBox="1"/>
          <p:nvPr/>
        </p:nvSpPr>
        <p:spPr>
          <a:xfrm>
            <a:off x="2324100" y="6858000"/>
            <a:ext cx="75438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3" tooltip="http://bohemianbabushka.bbabushka.com/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4" tooltip="https://creativecommons.org/licenses/by-nc-nd/3.0/"/>
              </a:rPr>
              <a:t>CC BY-NC-ND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32044472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46155-F196-DC4F-C76E-8556F7DF53B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B6DE47-1FE5-7F0C-2149-45E277CFD2C2}"/>
              </a:ext>
            </a:extLst>
          </p:cNvPr>
          <p:cNvSpPr txBox="1">
            <a:spLocks/>
          </p:cNvSpPr>
          <p:nvPr/>
        </p:nvSpPr>
        <p:spPr>
          <a:xfrm>
            <a:off x="748748" y="311426"/>
            <a:ext cx="10972800" cy="5410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252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>
              <a:spcBef>
                <a:spcPts val="1200"/>
              </a:spcBef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3200" b="1" u="sng" dirty="0">
                <a:solidFill>
                  <a:schemeClr val="accent1">
                    <a:lumMod val="50000"/>
                  </a:schemeClr>
                </a:solidFill>
              </a:rPr>
              <a:t>Contact your </a:t>
            </a:r>
            <a:r>
              <a:rPr lang="en-US" sz="3200" b="1" u="sng" dirty="0">
                <a:solidFill>
                  <a:srgbClr val="1F4E79"/>
                </a:solidFill>
              </a:rPr>
              <a:t>Manager of Customer Relations</a:t>
            </a:r>
            <a:endParaRPr lang="en-US" sz="2800" b="1" dirty="0">
              <a:solidFill>
                <a:srgbClr val="1F4E79"/>
              </a:solidFill>
              <a:ea typeface="ＭＳ Ｐゴシック" pitchFamily="34" charset="-128"/>
            </a:endParaRPr>
          </a:p>
          <a:p>
            <a:pPr marL="0" lvl="1">
              <a:buClr>
                <a:schemeClr val="tx1"/>
              </a:buClr>
              <a:defRPr/>
            </a:pPr>
            <a:endParaRPr lang="en-US" sz="3600" b="1" dirty="0">
              <a:solidFill>
                <a:schemeClr val="accent1">
                  <a:lumMod val="50000"/>
                </a:schemeClr>
              </a:solidFill>
              <a:ea typeface="ＭＳ Ｐゴシック" pitchFamily="34" charset="-128"/>
            </a:endParaRPr>
          </a:p>
          <a:p>
            <a:pPr algn="ctr"/>
            <a:r>
              <a:rPr lang="en-US" altLang="en-US" sz="3600" b="1" dirty="0">
                <a:solidFill>
                  <a:schemeClr val="accent1">
                    <a:lumMod val="50000"/>
                  </a:schemeClr>
                </a:solidFill>
              </a:rPr>
              <a:t>Darrin Gadson</a:t>
            </a:r>
          </a:p>
          <a:p>
            <a:pPr algn="ctr"/>
            <a:r>
              <a:rPr lang="en-US" altLang="en-US" sz="3600" b="1" dirty="0">
                <a:solidFill>
                  <a:schemeClr val="accent1">
                    <a:lumMod val="50000"/>
                  </a:schemeClr>
                </a:solidFill>
              </a:rPr>
              <a:t>KS-MO District Customer Relations Mgr.</a:t>
            </a:r>
          </a:p>
          <a:p>
            <a:pPr algn="ctr"/>
            <a:r>
              <a:rPr lang="en-US" sz="3600" b="1" dirty="0">
                <a:solidFill>
                  <a:schemeClr val="accent1">
                    <a:lumMod val="50000"/>
                  </a:schemeClr>
                </a:solidFill>
                <a:ea typeface="ＭＳ Ｐゴシック" pitchFamily="34" charset="-128"/>
              </a:rPr>
              <a:t>(816) 374-9170</a:t>
            </a:r>
          </a:p>
          <a:p>
            <a:pPr algn="ctr"/>
            <a:r>
              <a:rPr lang="en-US" sz="3600" dirty="0">
                <a:solidFill>
                  <a:schemeClr val="accent1">
                    <a:lumMod val="50000"/>
                  </a:schemeClr>
                </a:solidFill>
                <a:ea typeface="ＭＳ Ｐゴシック" pitchFamily="34" charset="-128"/>
              </a:rPr>
              <a:t>Darrin.R.Gadson@USPS.gov</a:t>
            </a:r>
          </a:p>
          <a:p>
            <a:pPr marL="231775" lvl="1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endParaRPr lang="en-US" b="1" dirty="0">
              <a:solidFill>
                <a:srgbClr val="0762A1"/>
              </a:solidFill>
              <a:ea typeface="ＭＳ Ｐゴシック" pitchFamily="34" charset="-128"/>
              <a:cs typeface="ＭＳ Ｐゴシック" pitchFamily="92" charset="-128"/>
            </a:endParaRPr>
          </a:p>
          <a:p>
            <a:pPr marL="231775" lvl="1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5BC366-C508-4CA5-B91F-E3BA80DB27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1548" y="4140683"/>
            <a:ext cx="4267200" cy="1876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2869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0045D5-F03A-90EA-31D4-041E1D16E7F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A054-430B-BCD8-9237-4242B7E53A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793" y="278297"/>
            <a:ext cx="10579608" cy="5720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5278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BA7639-E243-7DBE-C41F-7E6BEDE68D6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D3AEEE6-8BED-3137-413F-86E2763ADA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17418"/>
            <a:ext cx="12192000" cy="4964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046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F3BF5-90D9-F615-B3E9-292B5B1DD85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C9C16E2-E5A6-9757-449D-B955EEE96B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489" y="539496"/>
            <a:ext cx="11070527" cy="5129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72180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1E1B1D-234E-FBA8-997C-A638ACB88C9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5BC859F-5D70-970C-35ED-8B9A0239E5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4034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0949CB0-0802-46E8-74DB-209A7A0AEF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1954" y="858981"/>
            <a:ext cx="8043708" cy="50292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D0A0C50-EDA0-9CBA-8346-FDC66DF7FB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0170" y="1362104"/>
            <a:ext cx="3794847" cy="402295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1490EF0-AF4C-4663-E798-76CE497322E5}"/>
              </a:ext>
            </a:extLst>
          </p:cNvPr>
          <p:cNvSpPr txBox="1"/>
          <p:nvPr/>
        </p:nvSpPr>
        <p:spPr>
          <a:xfrm>
            <a:off x="1773382" y="543131"/>
            <a:ext cx="2369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entral Reg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79198CC-702F-6642-44E8-F5C9F7594FD2}"/>
              </a:ext>
            </a:extLst>
          </p:cNvPr>
          <p:cNvSpPr txBox="1"/>
          <p:nvPr/>
        </p:nvSpPr>
        <p:spPr>
          <a:xfrm>
            <a:off x="9296400" y="674315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idwest Division</a:t>
            </a:r>
          </a:p>
        </p:txBody>
      </p:sp>
    </p:spTree>
    <p:extLst>
      <p:ext uri="{BB962C8B-B14F-4D97-AF65-F5344CB8AC3E}">
        <p14:creationId xmlns:p14="http://schemas.microsoft.com/office/powerpoint/2010/main" val="38543044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6DA572-B1B9-097E-DA9C-CA0BDD1B366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A380BB1-D48A-DA8A-47E2-6EC7CE0F6C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57" y="566928"/>
            <a:ext cx="11208067" cy="509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46978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383880-B588-E5DA-041A-34CB6B609A2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CC191C-BFE5-85C5-CA8A-0B7ABEBB78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841" y="239060"/>
            <a:ext cx="10432541" cy="5795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099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46155-F196-DC4F-C76E-8556F7DF53B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9586A29-7268-391A-0DD9-E1F22F12CED7}"/>
              </a:ext>
            </a:extLst>
          </p:cNvPr>
          <p:cNvSpPr txBox="1"/>
          <p:nvPr/>
        </p:nvSpPr>
        <p:spPr>
          <a:xfrm>
            <a:off x="131181" y="307380"/>
            <a:ext cx="11570677" cy="603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u="sng" dirty="0"/>
              <a:t>KS-MO District Customer Relations Department’s Contacts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Business Service Network (BSN) – 3 Reps - bsnglks-mo@usps.go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ynthia Wagner, KS-MO Consumer Affairs Mgr. (816) 374-913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nsumer Affairs – 9 CA Reps – ksmoconsumeraffairsdepartment@usps.go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Business Lead Development Specialist (BLDS) – Anthony Bell (816) 374-920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Business Mail Entry (BME) – Johnnie Jones, MGR (314) 436-417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KS-MO Customer Relations Coordinators (CRC) - Keri Beutel (STL)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ustomer Relations Specialist (CRS) – Estelle Bell – “Mini Me” – (314) 436-3395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8863580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38BF3A-E700-31CB-B4C0-34C7AF9B15F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3/8/2023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950AC6-87AD-F969-D7E7-1662267FDAAF}"/>
              </a:ext>
            </a:extLst>
          </p:cNvPr>
          <p:cNvSpPr txBox="1"/>
          <p:nvPr/>
        </p:nvSpPr>
        <p:spPr>
          <a:xfrm>
            <a:off x="31643" y="76076"/>
            <a:ext cx="11838710" cy="61247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u="sng" dirty="0"/>
              <a:t>St. Louis Leadership Team Points of Contact </a:t>
            </a:r>
          </a:p>
          <a:p>
            <a:endParaRPr lang="en-US" sz="800" b="1" u="sng" dirty="0"/>
          </a:p>
          <a:p>
            <a:endParaRPr lang="en-US" sz="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Allen Mitchell – Plant Mgr. St. Louis Processing &amp; Distribution Center (314) 436-4160</a:t>
            </a:r>
          </a:p>
          <a:p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Scott Wiesneski – Lead Senior Manager Disputation Operations (314) 345-2957</a:t>
            </a:r>
          </a:p>
          <a:p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Shante Blackmore – Logistics/Transportation (314) 436-4324</a:t>
            </a:r>
          </a:p>
          <a:p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Andre Meriweather – In Plant Support Mgr. </a:t>
            </a:r>
            <a:r>
              <a:rPr lang="en-US" dirty="0"/>
              <a:t>(314) 436-4438</a:t>
            </a:r>
            <a:endParaRPr lang="en-US" sz="1800" dirty="0"/>
          </a:p>
          <a:p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Jessica Tennon – Business Mail Entry Supervisor (</a:t>
            </a:r>
            <a:r>
              <a:rPr lang="en-US" dirty="0"/>
              <a:t>314) 436-4178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MTE/MTEOR &amp; Dispatch – (314) 436 -3389 &amp; (314) 436-5538 (314) 436-3996</a:t>
            </a:r>
          </a:p>
          <a:p>
            <a:endParaRPr lang="en-US" sz="1800" dirty="0"/>
          </a:p>
          <a:p>
            <a:r>
              <a:rPr lang="en-US" sz="1800" b="1" u="sng" dirty="0"/>
              <a:t>Additional USPC POCs</a:t>
            </a:r>
          </a:p>
          <a:p>
            <a:endParaRPr lang="en-US" sz="1800" b="1" u="sng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Roland Tidmore – Mgr. Operations SFS– (816) 545-1118 and Stamps (816) 545102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Randy Hite – Area Sr. Business Service Network Rep </a:t>
            </a:r>
          </a:p>
          <a:p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Mailing Shipping Solution Center (MSSC) </a:t>
            </a:r>
            <a:r>
              <a:rPr lang="en-US" sz="2000" dirty="0">
                <a:hlinkClick r:id="rId2"/>
              </a:rPr>
              <a:t>mssc@usps.gov</a:t>
            </a:r>
            <a:r>
              <a:rPr lang="en-US" sz="2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6450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Y7pkFuQ.iDE2T69ATx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afwNFQfiORp6TRzDF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SPS_Template_1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SPS_Template_1" id="{CA9B668E-9B3E-436D-9FD9-B02BD19CE699}" vid="{7EA2BAC9-198E-467F-8D47-E1D1262F9AD9}"/>
    </a:ext>
  </a:extLst>
</a:theme>
</file>

<file path=ppt/theme/theme2.xml><?xml version="1.0" encoding="utf-8"?>
<a:theme xmlns:a="http://schemas.openxmlformats.org/drawingml/2006/main" name="1_blank">
  <a:themeElements>
    <a:clrScheme name="USPS">
      <a:dk1>
        <a:srgbClr val="000000"/>
      </a:dk1>
      <a:lt1>
        <a:srgbClr val="FFFFFF"/>
      </a:lt1>
      <a:dk2>
        <a:srgbClr val="22226B"/>
      </a:dk2>
      <a:lt2>
        <a:srgbClr val="808080"/>
      </a:lt2>
      <a:accent1>
        <a:srgbClr val="1E5FA8"/>
      </a:accent1>
      <a:accent2>
        <a:srgbClr val="5193C7"/>
      </a:accent2>
      <a:accent3>
        <a:srgbClr val="9ABFDE"/>
      </a:accent3>
      <a:accent4>
        <a:srgbClr val="808080"/>
      </a:accent4>
      <a:accent5>
        <a:srgbClr val="B2B2B2"/>
      </a:accent5>
      <a:accent6>
        <a:srgbClr val="E2E2E2"/>
      </a:accent6>
      <a:hlink>
        <a:srgbClr val="009999"/>
      </a:hlink>
      <a:folHlink>
        <a:srgbClr val="6BC4C4"/>
      </a:folHlink>
    </a:clrScheme>
    <a:fontScheme name="USP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75DBD6389BFE42B475DAAFEA1837E8" ma:contentTypeVersion="8" ma:contentTypeDescription="Create a new document." ma:contentTypeScope="" ma:versionID="a90e0a9a3968875e56d7eaba81cc5f0f">
  <xsd:schema xmlns:xsd="http://www.w3.org/2001/XMLSchema" xmlns:xs="http://www.w3.org/2001/XMLSchema" xmlns:p="http://schemas.microsoft.com/office/2006/metadata/properties" xmlns:ns1="http://schemas.microsoft.com/sharepoint/v3" xmlns:ns2="3375c2aa-e82c-4f9b-ba57-639451c1437f" xmlns:ns3="431db7f5-7720-4b92-bf42-57528696e043" targetNamespace="http://schemas.microsoft.com/office/2006/metadata/properties" ma:root="true" ma:fieldsID="209bfb1597a2f1a844b97d265e36ff7d" ns1:_="" ns2:_="" ns3:_="">
    <xsd:import namespace="http://schemas.microsoft.com/sharepoint/v3"/>
    <xsd:import namespace="3375c2aa-e82c-4f9b-ba57-639451c1437f"/>
    <xsd:import namespace="431db7f5-7720-4b92-bf42-57528696e0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75c2aa-e82c-4f9b-ba57-639451c143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db7f5-7720-4b92-bf42-57528696e0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3D8F1BC-2987-4EF7-814B-DFE6E84E264A}">
  <ds:schemaRefs>
    <ds:schemaRef ds:uri="3375c2aa-e82c-4f9b-ba57-639451c1437f"/>
    <ds:schemaRef ds:uri="431db7f5-7720-4b92-bf42-57528696e0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908A1AE-7D63-469F-9585-253143CC3F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D5A5834-8A04-4D3C-B17C-B43C7FC3AEC1}">
  <ds:schemaRefs>
    <ds:schemaRef ds:uri="3375c2aa-e82c-4f9b-ba57-639451c1437f"/>
    <ds:schemaRef ds:uri="431db7f5-7720-4b92-bf42-57528696e04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42</TotalTime>
  <Words>310</Words>
  <Application>Microsoft Office PowerPoint</Application>
  <PresentationFormat>Widescreen</PresentationFormat>
  <Paragraphs>66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Wingdings</vt:lpstr>
      <vt:lpstr>USPS_Template_1</vt:lpstr>
      <vt:lpstr>1_blank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nlogson, Lois A - Bloomingdale, IL</dc:creator>
  <cp:lastModifiedBy>Beutel, Keri - St. Louis, MO</cp:lastModifiedBy>
  <cp:revision>13</cp:revision>
  <cp:lastPrinted>2021-08-17T20:03:43Z</cp:lastPrinted>
  <dcterms:created xsi:type="dcterms:W3CDTF">2021-08-13T12:22:32Z</dcterms:created>
  <dcterms:modified xsi:type="dcterms:W3CDTF">2023-03-08T19:4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75DBD6389BFE42B475DAAFEA1837E8</vt:lpwstr>
  </property>
</Properties>
</file>